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4"/>
  </p:sldMasterIdLst>
  <p:notesMasterIdLst>
    <p:notesMasterId r:id="rId16"/>
  </p:notesMasterIdLst>
  <p:handoutMasterIdLst>
    <p:handoutMasterId r:id="rId17"/>
  </p:handoutMasterIdLst>
  <p:sldIdLst>
    <p:sldId id="256" r:id="rId5"/>
    <p:sldId id="260" r:id="rId6"/>
    <p:sldId id="262" r:id="rId7"/>
    <p:sldId id="261" r:id="rId8"/>
    <p:sldId id="263" r:id="rId9"/>
    <p:sldId id="280" r:id="rId10"/>
    <p:sldId id="264" r:id="rId11"/>
    <p:sldId id="279" r:id="rId12"/>
    <p:sldId id="265" r:id="rId13"/>
    <p:sldId id="266" r:id="rId14"/>
    <p:sldId id="278" r:id="rId15"/>
  </p:sldIdLst>
  <p:sldSz cx="12190413" cy="6859588"/>
  <p:notesSz cx="6807200" cy="9939338"/>
  <p:custDataLst>
    <p:tags r:id="rId18"/>
  </p:custDataLst>
  <p:defaultTextStyle>
    <a:defPPr>
      <a:defRPr lang="en-US"/>
    </a:defPPr>
    <a:lvl1pPr marL="0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9516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39033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58549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78065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97582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117098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636615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156131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EAC2276-1473-44AE-B952-E5E9854B0E27}">
          <p14:sldIdLst>
            <p14:sldId id="256"/>
            <p14:sldId id="260"/>
            <p14:sldId id="262"/>
            <p14:sldId id="261"/>
            <p14:sldId id="263"/>
            <p14:sldId id="280"/>
            <p14:sldId id="264"/>
            <p14:sldId id="279"/>
            <p14:sldId id="265"/>
            <p14:sldId id="266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>
          <p15:clr>
            <a:srgbClr val="A4A3A4"/>
          </p15:clr>
        </p15:guide>
        <p15:guide id="2" orient="horz" pos="709">
          <p15:clr>
            <a:srgbClr val="A4A3A4"/>
          </p15:clr>
        </p15:guide>
        <p15:guide id="3" orient="horz" pos="3978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160">
          <p15:clr>
            <a:srgbClr val="A4A3A4"/>
          </p15:clr>
        </p15:guide>
        <p15:guide id="6" orient="horz" pos="3703">
          <p15:clr>
            <a:srgbClr val="A4A3A4"/>
          </p15:clr>
        </p15:guide>
        <p15:guide id="7" orient="horz" pos="3749">
          <p15:clr>
            <a:srgbClr val="A4A3A4"/>
          </p15:clr>
        </p15:guide>
        <p15:guide id="8" pos="3840">
          <p15:clr>
            <a:srgbClr val="A4A3A4"/>
          </p15:clr>
        </p15:guide>
        <p15:guide id="9" pos="420">
          <p15:clr>
            <a:srgbClr val="A4A3A4"/>
          </p15:clr>
        </p15:guide>
        <p15:guide id="10" pos="72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1"/>
    <a:srgbClr val="FFFFFF"/>
    <a:srgbClr val="003468"/>
    <a:srgbClr val="4D4D4D"/>
    <a:srgbClr val="F898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20" autoAdjust="0"/>
    <p:restoredTop sz="93791" autoAdjust="0"/>
  </p:normalViewPr>
  <p:slideViewPr>
    <p:cSldViewPr snapToGrid="0">
      <p:cViewPr varScale="1">
        <p:scale>
          <a:sx n="152" d="100"/>
          <a:sy n="152" d="100"/>
        </p:scale>
        <p:origin x="1272" y="168"/>
      </p:cViewPr>
      <p:guideLst>
        <p:guide orient="horz" pos="2115"/>
        <p:guide orient="horz" pos="709"/>
        <p:guide orient="horz" pos="3978"/>
        <p:guide orient="horz" pos="754"/>
        <p:guide orient="horz" pos="160"/>
        <p:guide orient="horz" pos="3703"/>
        <p:guide orient="horz" pos="3749"/>
        <p:guide pos="3840"/>
        <p:guide pos="420"/>
        <p:guide pos="72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4644" y="132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2865F-B372-43D2-8255-7FA4007EBB59}" type="datetimeFigureOut">
              <a:rPr lang="en-AU" smtClean="0"/>
              <a:t>28/4/21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4F6DAE-8937-4BD8-96F6-7DF4B65EF41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517324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4D938-244D-4739-949C-2C3FCC68DC46}" type="datetimeFigureOut">
              <a:rPr lang="en-AU" smtClean="0"/>
              <a:t>28/4/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1987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C0CB5-59E8-4F90-B170-7BD09AD757B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06720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1pPr>
    <a:lvl2pPr marL="519516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2pPr>
    <a:lvl3pPr marL="1039033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3pPr>
    <a:lvl4pPr marL="1558549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4pPr>
    <a:lvl5pPr marL="2078065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5pPr>
    <a:lvl6pPr marL="2597582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17098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36615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56131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C0CB5-59E8-4F90-B170-7BD09AD757BA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0479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C0CB5-59E8-4F90-B170-7BD09AD757BA}" type="slidenum">
              <a:rPr lang="en-AU" smtClean="0"/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9830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666000" y="4653930"/>
            <a:ext cx="8825959" cy="432048"/>
          </a:xfrm>
          <a:prstGeom prst="rect">
            <a:avLst/>
          </a:prstGeom>
        </p:spPr>
        <p:txBody>
          <a:bodyPr/>
          <a:lstStyle>
            <a:lvl1pPr>
              <a:defRPr sz="2000" baseline="0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AU" noProof="0" dirty="0"/>
              <a:t>Speaker | Date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66000" y="3812875"/>
            <a:ext cx="8817332" cy="83482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5200"/>
              </a:lnSpc>
              <a:defRPr sz="48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5878066"/>
            <a:ext cx="12190413" cy="9815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D3AB26-6606-48CF-93D4-3185E26AB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30" r="17235"/>
          <a:stretch/>
        </p:blipFill>
        <p:spPr>
          <a:xfrm>
            <a:off x="3866409" y="794"/>
            <a:ext cx="8324797" cy="4780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841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6455246" y="1774800"/>
            <a:ext cx="5040560" cy="3799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1"/>
          </p:nvPr>
        </p:nvSpPr>
        <p:spPr>
          <a:xfrm>
            <a:off x="666000" y="1774800"/>
            <a:ext cx="5040560" cy="3799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0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663739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21"/>
          </p:nvPr>
        </p:nvSpPr>
        <p:spPr>
          <a:xfrm>
            <a:off x="66600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22"/>
          </p:nvPr>
        </p:nvSpPr>
        <p:spPr>
          <a:xfrm>
            <a:off x="441028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23"/>
          </p:nvPr>
        </p:nvSpPr>
        <p:spPr>
          <a:xfrm>
            <a:off x="815456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0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4192191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5894"/>
            <a:ext cx="3528392" cy="439990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23"/>
          </p:nvPr>
        </p:nvSpPr>
        <p:spPr>
          <a:xfrm>
            <a:off x="4536908" y="1775894"/>
            <a:ext cx="6981149" cy="37909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542738" y="5705958"/>
            <a:ext cx="6971399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27729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10797573" cy="19402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24"/>
          </p:nvPr>
        </p:nvSpPr>
        <p:spPr>
          <a:xfrm>
            <a:off x="666000" y="4077359"/>
            <a:ext cx="10797573" cy="20122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781010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3203565-448E-46C8-AF80-7064BB418577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7" name="Picture 16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898525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922365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3250853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910734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3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6239222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863062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4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9191550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1683294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A29569E5-547F-410D-94F7-0598DF5FC1F0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1" name="Picture Placeholder 20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821531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="0" baseline="0"/>
            </a:lvl1pPr>
          </a:lstStyle>
          <a:p>
            <a:r>
              <a:rPr lang="en-AU" noProof="0" dirty="0"/>
              <a:t>Insert Icon Colour C1</a:t>
            </a:r>
          </a:p>
        </p:txBody>
      </p:sp>
      <p:sp>
        <p:nvSpPr>
          <p:cNvPr id="23" name="Picture Placeholder 20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485455" y="2677791"/>
            <a:ext cx="540000" cy="540000"/>
          </a:xfrm>
          <a:prstGeom prst="rect">
            <a:avLst/>
          </a:prstGeom>
        </p:spPr>
        <p:txBody>
          <a:bodyPr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/>
            </a:lvl1pPr>
          </a:lstStyle>
          <a:p>
            <a:r>
              <a:rPr lang="en-AU" noProof="0" dirty="0"/>
              <a:t>Insert Icon Colour C2</a:t>
            </a:r>
          </a:p>
          <a:p>
            <a:endParaRPr lang="en-AU" noProof="0" dirty="0"/>
          </a:p>
        </p:txBody>
      </p:sp>
      <p:sp>
        <p:nvSpPr>
          <p:cNvPr id="25" name="Picture Placeholder 2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164956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/>
            </a:lvl1pPr>
          </a:lstStyle>
          <a:p>
            <a:r>
              <a:rPr lang="en-AU" noProof="0" dirty="0"/>
              <a:t>Insert Icon Colour C3</a:t>
            </a:r>
          </a:p>
        </p:txBody>
      </p:sp>
      <p:sp>
        <p:nvSpPr>
          <p:cNvPr id="27" name="Picture Placeholder 2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829252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/>
            </a:lvl1pPr>
          </a:lstStyle>
          <a:p>
            <a:r>
              <a:rPr lang="en-AU" noProof="0" dirty="0"/>
              <a:t>Insert Icon Colour C5</a:t>
            </a:r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3703737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6383238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9047534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28424580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761316E-8D59-4163-850F-0F864577A6DE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1" name="Picture Placeholder 20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821531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1</a:t>
            </a:r>
          </a:p>
        </p:txBody>
      </p:sp>
      <p:sp>
        <p:nvSpPr>
          <p:cNvPr id="23" name="Picture Placeholder 20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485455" y="2677791"/>
            <a:ext cx="540000" cy="540000"/>
          </a:xfrm>
          <a:prstGeom prst="rect">
            <a:avLst/>
          </a:prstGeom>
        </p:spPr>
        <p:txBody>
          <a:bodyPr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2</a:t>
            </a:r>
          </a:p>
          <a:p>
            <a:endParaRPr lang="en-AU" noProof="0" dirty="0"/>
          </a:p>
        </p:txBody>
      </p:sp>
      <p:sp>
        <p:nvSpPr>
          <p:cNvPr id="25" name="Picture Placeholder 2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164956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3</a:t>
            </a:r>
          </a:p>
        </p:txBody>
      </p:sp>
      <p:sp>
        <p:nvSpPr>
          <p:cNvPr id="27" name="Picture Placeholder 2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829252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5</a:t>
            </a:r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3703737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6383238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9047534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0368845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nsig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31541C-9C9B-468A-BD2B-4312256415E4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5071518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9103222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7055837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nsigh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E9433C7-5558-4037-8D08-E7DD4DED0623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5071518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9103222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44206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736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-814" y="1685925"/>
            <a:ext cx="12190414" cy="2057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747319"/>
            <a:ext cx="12190413" cy="24907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Picture</a:t>
            </a: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109593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25" name="Picture Placeholder 3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3486477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nsert Icon</a:t>
            </a:r>
          </a:p>
        </p:txBody>
      </p:sp>
      <p:sp>
        <p:nvSpPr>
          <p:cNvPr id="26" name="Picture Placeholder 3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861377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27" name="Picture Placeholder 3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239005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nsert Icon</a:t>
            </a:r>
          </a:p>
        </p:txBody>
      </p:sp>
      <p:sp>
        <p:nvSpPr>
          <p:cNvPr id="28" name="Picture Placeholder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0613905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261938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2638822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21" hasCustomPrompt="1"/>
          </p:nvPr>
        </p:nvSpPr>
        <p:spPr>
          <a:xfrm>
            <a:off x="5013722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22" hasCustomPrompt="1"/>
          </p:nvPr>
        </p:nvSpPr>
        <p:spPr>
          <a:xfrm>
            <a:off x="7391350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9766250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236091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562E7D2-AFE7-4016-9E8D-6A31337D10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" t="63966" b="2498"/>
          <a:stretch/>
        </p:blipFill>
        <p:spPr>
          <a:xfrm>
            <a:off x="0" y="3575447"/>
            <a:ext cx="12192671" cy="230182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178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66000" y="4383552"/>
            <a:ext cx="6824629" cy="720080"/>
          </a:xfrm>
          <a:prstGeom prst="rect">
            <a:avLst/>
          </a:prstGeom>
        </p:spPr>
        <p:txBody>
          <a:bodyPr anchor="ctr"/>
          <a:lstStyle>
            <a:lvl1pPr>
              <a:defRPr sz="38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Section break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DC68DC2-D5FD-4D50-B436-C8EE929912B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alphaModFix amt="67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24" r="45018" b="49528"/>
          <a:stretch/>
        </p:blipFill>
        <p:spPr bwMode="auto">
          <a:xfrm>
            <a:off x="6747900" y="3575447"/>
            <a:ext cx="5444772" cy="2301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53919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o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63"/>
          <p:cNvSpPr>
            <a:spLocks/>
          </p:cNvSpPr>
          <p:nvPr userDrawn="1"/>
        </p:nvSpPr>
        <p:spPr bwMode="auto">
          <a:xfrm>
            <a:off x="2556535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6" name="Freeform 63"/>
          <p:cNvSpPr>
            <a:spLocks/>
          </p:cNvSpPr>
          <p:nvPr userDrawn="1"/>
        </p:nvSpPr>
        <p:spPr bwMode="auto">
          <a:xfrm>
            <a:off x="5766271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7" name="Freeform 63"/>
          <p:cNvSpPr>
            <a:spLocks/>
          </p:cNvSpPr>
          <p:nvPr userDrawn="1"/>
        </p:nvSpPr>
        <p:spPr bwMode="auto">
          <a:xfrm>
            <a:off x="8976008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4" name="Picture Placeholder 3"/>
          <p:cNvSpPr>
            <a:spLocks noGrp="1"/>
          </p:cNvSpPr>
          <p:nvPr userDrawn="1">
            <p:ph type="pic" sz="quarter" idx="10"/>
          </p:nvPr>
        </p:nvSpPr>
        <p:spPr>
          <a:xfrm>
            <a:off x="0" y="3747319"/>
            <a:ext cx="12190413" cy="2490787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AU" noProof="0"/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4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61938" y="1917626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3502918" y="1943959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6671270" y="1943959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9839622" y="1917457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7673553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dea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109728"/>
            <a:ext cx="694606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557586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3153003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4774299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3" name="Oval 22"/>
          <p:cNvSpPr>
            <a:spLocks noChangeAspect="1"/>
          </p:cNvSpPr>
          <p:nvPr userDrawn="1"/>
        </p:nvSpPr>
        <p:spPr>
          <a:xfrm>
            <a:off x="547590" y="2133281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6" name="Oval 25"/>
          <p:cNvSpPr>
            <a:spLocks noChangeAspect="1"/>
          </p:cNvSpPr>
          <p:nvPr userDrawn="1"/>
        </p:nvSpPr>
        <p:spPr>
          <a:xfrm>
            <a:off x="547590" y="37286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7" name="Oval 26"/>
          <p:cNvSpPr>
            <a:spLocks noChangeAspect="1"/>
          </p:cNvSpPr>
          <p:nvPr userDrawn="1"/>
        </p:nvSpPr>
        <p:spPr>
          <a:xfrm>
            <a:off x="547590" y="5349994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2820540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dea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555312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2815423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36325" y="4114800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109728"/>
            <a:ext cx="694606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6" name="Oval 5"/>
          <p:cNvSpPr>
            <a:spLocks noChangeAspect="1"/>
          </p:cNvSpPr>
          <p:nvPr userDrawn="1"/>
        </p:nvSpPr>
        <p:spPr>
          <a:xfrm>
            <a:off x="547590" y="1933256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Oval 23"/>
          <p:cNvSpPr>
            <a:spLocks noChangeAspect="1"/>
          </p:cNvSpPr>
          <p:nvPr userDrawn="1"/>
        </p:nvSpPr>
        <p:spPr>
          <a:xfrm>
            <a:off x="547590" y="31571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5" name="Oval 24"/>
          <p:cNvSpPr>
            <a:spLocks noChangeAspect="1"/>
          </p:cNvSpPr>
          <p:nvPr userDrawn="1"/>
        </p:nvSpPr>
        <p:spPr>
          <a:xfrm>
            <a:off x="547590" y="5778619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1136325" y="5396061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Oval 14"/>
          <p:cNvSpPr>
            <a:spLocks noChangeAspect="1"/>
          </p:cNvSpPr>
          <p:nvPr userDrawn="1"/>
        </p:nvSpPr>
        <p:spPr>
          <a:xfrm>
            <a:off x="547590" y="44906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1719258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dea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F870EE6-BD35-46E8-87A1-FFC8172A93E4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792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2328883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3246677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4164471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E1B39C7-0406-473D-B359-AC80E9398756}"/>
              </a:ext>
            </a:extLst>
          </p:cNvPr>
          <p:cNvSpPr/>
          <p:nvPr userDrawn="1"/>
        </p:nvSpPr>
        <p:spPr>
          <a:xfrm>
            <a:off x="531591" y="1703190"/>
            <a:ext cx="36000" cy="39348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FB2F01D-560E-4C89-B784-1DE460665D9D}"/>
              </a:ext>
            </a:extLst>
          </p:cNvPr>
          <p:cNvSpPr/>
          <p:nvPr userDrawn="1"/>
        </p:nvSpPr>
        <p:spPr>
          <a:xfrm>
            <a:off x="435291" y="2572642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C359FF5-1585-46DF-88FD-5AA9A4E4DEF6}"/>
              </a:ext>
            </a:extLst>
          </p:cNvPr>
          <p:cNvSpPr/>
          <p:nvPr userDrawn="1"/>
        </p:nvSpPr>
        <p:spPr>
          <a:xfrm>
            <a:off x="435291" y="3493304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8E87A78-72B4-4B9E-8998-C6516A8BC5E9}"/>
              </a:ext>
            </a:extLst>
          </p:cNvPr>
          <p:cNvSpPr/>
          <p:nvPr userDrawn="1"/>
        </p:nvSpPr>
        <p:spPr>
          <a:xfrm>
            <a:off x="435291" y="4411098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9338156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dea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53ADC0D2-D787-4C8B-993E-9716CE0E2979}"/>
              </a:ext>
            </a:extLst>
          </p:cNvPr>
          <p:cNvSpPr/>
          <p:nvPr userDrawn="1"/>
        </p:nvSpPr>
        <p:spPr>
          <a:xfrm>
            <a:off x="0" y="1703189"/>
            <a:ext cx="12193790" cy="40928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823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933694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2898132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3872095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531591" y="1703190"/>
            <a:ext cx="36000" cy="4092871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7" name="Oval 6"/>
          <p:cNvSpPr/>
          <p:nvPr userDrawn="1"/>
        </p:nvSpPr>
        <p:spPr>
          <a:xfrm>
            <a:off x="435291" y="217656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Oval 15"/>
          <p:cNvSpPr/>
          <p:nvPr userDrawn="1"/>
        </p:nvSpPr>
        <p:spPr>
          <a:xfrm>
            <a:off x="435291" y="311829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7" name="Oval 16"/>
          <p:cNvSpPr/>
          <p:nvPr userDrawn="1"/>
        </p:nvSpPr>
        <p:spPr>
          <a:xfrm>
            <a:off x="435291" y="408156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1126800" y="4865108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5291" y="508168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1775053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600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118377" y="1124744"/>
            <a:ext cx="680136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118377" y="3285778"/>
            <a:ext cx="6801364" cy="2519485"/>
          </a:xfrm>
          <a:prstGeom prst="rect">
            <a:avLst/>
          </a:prstGeom>
          <a:solidFill>
            <a:schemeClr val="accent5"/>
          </a:solidFill>
        </p:spPr>
        <p:txBody>
          <a:bodyPr lIns="144000" tIns="36000" rIns="144000" bIns="144000"/>
          <a:lstStyle>
            <a:lvl1pPr>
              <a:spcBef>
                <a:spcPts val="1200"/>
              </a:spcBef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17975" y="1485900"/>
            <a:ext cx="6802438" cy="1655763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126654" y="698582"/>
            <a:ext cx="2195992" cy="2628000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spcBef>
                <a:spcPts val="0"/>
              </a:spcBef>
              <a:defRPr sz="3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Title (change icon accordingly)</a:t>
            </a:r>
          </a:p>
        </p:txBody>
      </p:sp>
      <p:sp>
        <p:nvSpPr>
          <p:cNvPr id="20" name="Picture Placeholder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78582" y="693489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accent2"/>
                </a:solidFill>
              </a:defRPr>
            </a:lvl1pPr>
          </a:lstStyle>
          <a:p>
            <a:r>
              <a:rPr lang="en-AU" noProof="0" dirty="0"/>
              <a:t>Insert Icon (white)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4842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title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600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118377" y="2853730"/>
            <a:ext cx="680136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730862" y="1341562"/>
            <a:ext cx="2195992" cy="1728192"/>
          </a:xfrm>
          <a:prstGeom prst="rect">
            <a:avLst/>
          </a:prstGeom>
        </p:spPr>
        <p:txBody>
          <a:bodyPr/>
          <a:lstStyle>
            <a:lvl1pPr algn="ctr">
              <a:lnSpc>
                <a:spcPts val="3500"/>
              </a:lnSpc>
              <a:spcBef>
                <a:spcPts val="0"/>
              </a:spcBef>
              <a:defRPr sz="3600" baseline="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117974" y="1413570"/>
            <a:ext cx="897111" cy="863600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3600" b="1"/>
            </a:lvl1pPr>
          </a:lstStyle>
          <a:p>
            <a:pPr lvl="0"/>
            <a:r>
              <a:rPr lang="en-AU" noProof="0" dirty="0"/>
              <a:t>1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5087713" y="1485429"/>
            <a:ext cx="5688013" cy="1224409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86350" y="2997200"/>
            <a:ext cx="5689600" cy="316865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8245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 wi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599262" y="0"/>
            <a:ext cx="4968552" cy="6857999"/>
          </a:xfrm>
          <a:prstGeom prst="rect">
            <a:avLst/>
          </a:prstGeom>
          <a:solidFill>
            <a:srgbClr val="FFFFFF">
              <a:alpha val="7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743700" y="621482"/>
            <a:ext cx="4679950" cy="554436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1200"/>
              </a:spcBef>
              <a:spcAft>
                <a:spcPts val="0"/>
              </a:spcAft>
              <a:defRPr sz="25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AU" noProof="0" dirty="0"/>
              <a:t>Click to edit Master text styles</a:t>
            </a:r>
            <a:br>
              <a:rPr lang="en-AU" noProof="0" dirty="0"/>
            </a:br>
            <a:r>
              <a:rPr lang="en-AU" noProof="0" dirty="0"/>
              <a:t>(to change image choose format background and insert a picture from file)</a:t>
            </a:r>
          </a:p>
        </p:txBody>
      </p:sp>
      <p:pic>
        <p:nvPicPr>
          <p:cNvPr id="20" name="Picture 19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221C140-B28F-4D5A-978A-F77A14E8C3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9639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 with call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0" y="1387674"/>
            <a:ext cx="5790230" cy="2736304"/>
          </a:xfrm>
          <a:prstGeom prst="rect">
            <a:avLst/>
          </a:prstGeom>
          <a:solidFill>
            <a:schemeClr val="accent5"/>
          </a:solidFill>
        </p:spPr>
        <p:txBody>
          <a:bodyPr lIns="540000" tIns="396000" rIns="540000" bIns="396000" anchor="ctr"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lick to edit Master text styles</a:t>
            </a:r>
            <a:br>
              <a:rPr lang="en-AU" noProof="0" dirty="0"/>
            </a:br>
            <a:r>
              <a:rPr lang="en-AU" noProof="0" dirty="0"/>
              <a:t>(to change image choose format background and insert a picture from file)</a:t>
            </a:r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6460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with short fac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09728"/>
            <a:ext cx="2206774" cy="67498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2666677" y="1774800"/>
            <a:ext cx="882550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6" hasCustomPrompt="1"/>
          </p:nvPr>
        </p:nvSpPr>
        <p:spPr>
          <a:xfrm>
            <a:off x="232922" y="472593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7" hasCustomPrompt="1"/>
          </p:nvPr>
        </p:nvSpPr>
        <p:spPr>
          <a:xfrm>
            <a:off x="232922" y="274571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232922" y="76549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0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638822" y="673547"/>
            <a:ext cx="888484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608715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664792" y="1774098"/>
            <a:ext cx="10831014" cy="4392000"/>
          </a:xfrm>
          <a:prstGeom prst="rect">
            <a:avLst/>
          </a:prstGeom>
        </p:spPr>
        <p:txBody>
          <a:bodyPr/>
          <a:lstStyle>
            <a:lvl1pPr marL="360000" marR="0" indent="-360000" algn="l" defTabSz="1039033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bg2"/>
              </a:buClr>
              <a:buSzTx/>
              <a:buFont typeface="+mj-lt"/>
              <a:buAutoNum type="arabicPeriod"/>
              <a:tabLst/>
              <a:defRPr/>
            </a:lvl1pPr>
            <a:lvl2pPr marL="720000" indent="-360000">
              <a:spcBef>
                <a:spcPts val="2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80000" indent="-360000">
              <a:spcBef>
                <a:spcPts val="2400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/>
            </a:lvl3pPr>
            <a:lvl4pPr marL="920403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dirty="0"/>
              <a:t>Insert table of contents</a:t>
            </a:r>
          </a:p>
          <a:p>
            <a:pPr lvl="1"/>
            <a:r>
              <a:rPr lang="en-AU" noProof="0" dirty="0"/>
              <a:t>Second</a:t>
            </a:r>
            <a:r>
              <a:rPr lang="en-AU" dirty="0"/>
              <a:t> line</a:t>
            </a:r>
          </a:p>
          <a:p>
            <a:pPr lvl="2"/>
            <a:r>
              <a:rPr lang="en-AU" dirty="0"/>
              <a:t>Third lin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66000" y="673200"/>
            <a:ext cx="10816149" cy="525600"/>
          </a:xfrm>
          <a:prstGeom prst="rect">
            <a:avLst/>
          </a:prstGeom>
          <a:noFill/>
        </p:spPr>
        <p:txBody>
          <a:bodyPr wrap="square" lIns="0" tIns="50400" rIns="0" bIns="5040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AU" sz="320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7782748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with short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09728"/>
            <a:ext cx="2206774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7" name="Text Placeholder 20"/>
          <p:cNvSpPr>
            <a:spLocks noGrp="1"/>
          </p:cNvSpPr>
          <p:nvPr>
            <p:ph type="body" sz="quarter" idx="26" hasCustomPrompt="1"/>
          </p:nvPr>
        </p:nvSpPr>
        <p:spPr>
          <a:xfrm>
            <a:off x="232922" y="472593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7" hasCustomPrompt="1"/>
          </p:nvPr>
        </p:nvSpPr>
        <p:spPr>
          <a:xfrm>
            <a:off x="232922" y="274571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232922" y="76549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0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638822" y="673547"/>
            <a:ext cx="888484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2666677" y="1774800"/>
            <a:ext cx="882550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3631160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1"/>
            <a:ext cx="4520925" cy="6886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2000" y="1806543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88502" y="5253081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2260600" y="-1035050"/>
            <a:ext cx="685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2" name="Freeform 11"/>
          <p:cNvSpPr>
            <a:spLocks noChangeAspect="1" noEditPoints="1"/>
          </p:cNvSpPr>
          <p:nvPr userDrawn="1"/>
        </p:nvSpPr>
        <p:spPr bwMode="auto">
          <a:xfrm>
            <a:off x="478582" y="1344265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6" name="Freeform 15"/>
          <p:cNvSpPr>
            <a:spLocks noChangeAspect="1" noEditPoints="1"/>
          </p:cNvSpPr>
          <p:nvPr userDrawn="1"/>
        </p:nvSpPr>
        <p:spPr bwMode="auto">
          <a:xfrm rot="10800000">
            <a:off x="3646935" y="4430151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4899600" y="673547"/>
            <a:ext cx="665259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4901184" y="1774800"/>
            <a:ext cx="6590996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32470462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2260600" y="-1035050"/>
            <a:ext cx="685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4899600" y="673547"/>
            <a:ext cx="665259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748" y="109728"/>
            <a:ext cx="4520925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4899600" y="1774800"/>
            <a:ext cx="6590996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2000" y="1806543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88502" y="5253081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17" name="Freeform 16"/>
          <p:cNvSpPr>
            <a:spLocks noChangeAspect="1" noEditPoints="1"/>
          </p:cNvSpPr>
          <p:nvPr userDrawn="1"/>
        </p:nvSpPr>
        <p:spPr bwMode="auto">
          <a:xfrm>
            <a:off x="478582" y="1344265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8" name="Freeform 17"/>
          <p:cNvSpPr>
            <a:spLocks noChangeAspect="1" noEditPoints="1"/>
          </p:cNvSpPr>
          <p:nvPr userDrawn="1"/>
        </p:nvSpPr>
        <p:spPr bwMode="auto">
          <a:xfrm rot="10800000">
            <a:off x="3646935" y="4430151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880468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r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7669488" y="1"/>
            <a:ext cx="4520925" cy="6886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6796608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91487" y="1799228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157989" y="5245766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8148069" y="133695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22" name="Freeform 21"/>
          <p:cNvSpPr>
            <a:spLocks noChangeAspect="1" noEditPoints="1"/>
          </p:cNvSpPr>
          <p:nvPr userDrawn="1"/>
        </p:nvSpPr>
        <p:spPr bwMode="auto">
          <a:xfrm rot="10800000">
            <a:off x="11316422" y="4422836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6738637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BB45C4DF-C563-4239-8E2E-0862B136B6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1635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7668675" y="109728"/>
            <a:ext cx="4520925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91487" y="1799228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157989" y="5245766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8148069" y="133695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22" name="Freeform 21"/>
          <p:cNvSpPr>
            <a:spLocks noChangeAspect="1" noEditPoints="1"/>
          </p:cNvSpPr>
          <p:nvPr userDrawn="1"/>
        </p:nvSpPr>
        <p:spPr bwMode="auto">
          <a:xfrm rot="10800000">
            <a:off x="11316422" y="4422836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6796608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6738637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0FE3A28E-3AD3-4A90-A670-A7296BBD18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9303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9405828" y="109728"/>
            <a:ext cx="279210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837876" y="1792062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838078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8361274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5A68721-F0CE-4574-B5D5-CA51864018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019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9405828" y="109728"/>
            <a:ext cx="279210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837876" y="1799377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838078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8361274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9878192-7EF6-479E-9BE0-317D151998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5115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Gre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25474" y="109728"/>
            <a:ext cx="279210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3357" y="1792062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3218400" y="673547"/>
            <a:ext cx="829192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3218400" y="1774800"/>
            <a:ext cx="827349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063845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Blu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25474" y="109728"/>
            <a:ext cx="279210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3357" y="1771933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3218400" y="673547"/>
            <a:ext cx="829192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3218400" y="1774800"/>
            <a:ext cx="827349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46649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883745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073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-3377" y="1701602"/>
            <a:ext cx="12193790" cy="4515602"/>
          </a:xfrm>
          <a:prstGeom prst="rect">
            <a:avLst/>
          </a:prstGeom>
          <a:solidFill>
            <a:srgbClr val="E6E6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66000" y="663509"/>
            <a:ext cx="10816149" cy="544983"/>
          </a:xfrm>
          <a:prstGeom prst="rect">
            <a:avLst/>
          </a:prstGeom>
          <a:noFill/>
        </p:spPr>
        <p:txBody>
          <a:bodyPr wrap="square" lIns="0" tIns="50400" rIns="0" bIns="5040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AU" sz="3200" noProof="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A051EDA1-C22D-41A5-876D-7AFEABDE78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4792" y="1774098"/>
            <a:ext cx="10831014" cy="4392000"/>
          </a:xfrm>
          <a:prstGeom prst="rect">
            <a:avLst/>
          </a:prstGeom>
        </p:spPr>
        <p:txBody>
          <a:bodyPr/>
          <a:lstStyle>
            <a:lvl1pPr marL="360000" marR="0" indent="-360000" algn="l" defTabSz="1039033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bg2"/>
              </a:buClr>
              <a:buSzTx/>
              <a:buFont typeface="+mj-lt"/>
              <a:buAutoNum type="arabicPeriod"/>
              <a:tabLst/>
              <a:defRPr/>
            </a:lvl1pPr>
            <a:lvl2pPr marL="720000" indent="-360000">
              <a:spcBef>
                <a:spcPts val="2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80000" indent="-360000">
              <a:spcBef>
                <a:spcPts val="2400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/>
            </a:lvl3pPr>
            <a:lvl4pPr marL="920403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dirty="0"/>
              <a:t>Insert table of contents</a:t>
            </a:r>
          </a:p>
          <a:p>
            <a:pPr lvl="1"/>
            <a:r>
              <a:rPr lang="en-AU" noProof="0" dirty="0"/>
              <a:t>Second</a:t>
            </a:r>
            <a:r>
              <a:rPr lang="en-AU" dirty="0"/>
              <a:t> line</a:t>
            </a:r>
          </a:p>
          <a:p>
            <a:pPr lvl="2"/>
            <a:r>
              <a:rPr lang="en-AU" dirty="0"/>
              <a:t>Third line</a:t>
            </a:r>
          </a:p>
        </p:txBody>
      </p:sp>
    </p:spTree>
    <p:extLst>
      <p:ext uri="{BB962C8B-B14F-4D97-AF65-F5344CB8AC3E}">
        <p14:creationId xmlns:p14="http://schemas.microsoft.com/office/powerpoint/2010/main" val="10473309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  <a:solidFill>
            <a:schemeClr val="accent5"/>
          </a:solidFill>
        </p:spPr>
        <p:txBody>
          <a:bodyPr lIns="9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  <a:solidFill>
            <a:schemeClr val="accent5"/>
          </a:solidFill>
        </p:spPr>
        <p:txBody>
          <a:bodyPr lIns="9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1015718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9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  <a:solidFill>
            <a:schemeClr val="bg2"/>
          </a:solidFill>
        </p:spPr>
        <p:txBody>
          <a:bodyPr lIns="9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  <a:solidFill>
            <a:schemeClr val="bg2"/>
          </a:solidFill>
        </p:spPr>
        <p:txBody>
          <a:bodyPr lIns="9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705955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A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AFF8B8D-2DA6-46D9-A6AA-A72703761021}"/>
              </a:ext>
            </a:extLst>
          </p:cNvPr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Australia, the UK and Canada.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1094D2-54F5-49B2-BD82-DAE96E9A80CC}"/>
              </a:ext>
            </a:extLst>
          </p:cNvPr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96A03CA-95D9-4DE9-9668-DAC276F1284F}"/>
              </a:ext>
            </a:extLst>
          </p:cNvPr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40FB461-B493-4A69-A4AB-9F564D51B75D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6356F1B-AD1E-4C1D-B8B8-277B8C02CB38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41" name="Freeform 70">
              <a:extLst>
                <a:ext uri="{FF2B5EF4-FFF2-40B4-BE49-F238E27FC236}">
                  <a16:creationId xmlns:a16="http://schemas.microsoft.com/office/drawing/2014/main" id="{AE03600D-DC00-4DE3-8C3E-D8DD4EF9B8D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4124DB3-E850-4A62-851F-2B55DF1C8099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DCDBC65-D962-4363-A2BA-6E8EE86D35DC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49" name="Freeform 70">
              <a:extLst>
                <a:ext uri="{FF2B5EF4-FFF2-40B4-BE49-F238E27FC236}">
                  <a16:creationId xmlns:a16="http://schemas.microsoft.com/office/drawing/2014/main" id="{2601D8C4-1CF5-4C44-AF36-3941AD25A7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7E0D545-EAEE-45E7-8A6C-32DCB10503E4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06C2474-EA53-444D-A81C-BEF3B01A43BC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52" name="Freeform 70">
              <a:extLst>
                <a:ext uri="{FF2B5EF4-FFF2-40B4-BE49-F238E27FC236}">
                  <a16:creationId xmlns:a16="http://schemas.microsoft.com/office/drawing/2014/main" id="{3DA58271-EC98-405C-A2A6-C9C2F53787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2F3AE81F-F615-46E0-8E22-5AFC4562A173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478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Rectangle 15"/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the UK, Australia and Canada.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D4E17A5-14C6-40E5-85C0-1AED71916E19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E31E3A0-4D1D-4C0B-8D80-D710A2E2D3D2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43" name="Freeform 70">
              <a:extLst>
                <a:ext uri="{FF2B5EF4-FFF2-40B4-BE49-F238E27FC236}">
                  <a16:creationId xmlns:a16="http://schemas.microsoft.com/office/drawing/2014/main" id="{BBB35ADF-AAF1-4F82-9192-0FD346BEC6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3EBB6D4-05AC-45B9-97F1-65572F302B8D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C33D3FA-D99F-49A5-BCE6-C1BB4AA7559D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44" name="Freeform 70">
              <a:extLst>
                <a:ext uri="{FF2B5EF4-FFF2-40B4-BE49-F238E27FC236}">
                  <a16:creationId xmlns:a16="http://schemas.microsoft.com/office/drawing/2014/main" id="{5A34CBB2-2E73-4AE3-9E06-C12C0F5EE4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57D016A-1475-42FD-B9BF-24A46D9FFF4C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69F6100-29CF-4CC0-A93A-8AF2DBF18982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371E7130-B2AA-4686-A656-C1F7E44CE5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4F7C012-405D-4BF0-8A85-9BBAB9B36CC0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0859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Ca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5382315-0994-4BAF-876F-8ECB35C1C0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26E339E-AF7C-4459-95B0-5BA0A3DDD066}"/>
              </a:ext>
            </a:extLst>
          </p:cNvPr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9C4BD81-71DC-4DF0-9CD4-998A3829DAF3}"/>
              </a:ext>
            </a:extLst>
          </p:cNvPr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71AE65D-28D7-4F3F-9511-99BF2BCED33C}"/>
              </a:ext>
            </a:extLst>
          </p:cNvPr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Canada, Australia and the UK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567C217-8858-4206-8A08-D23139D10ACC}"/>
              </a:ext>
            </a:extLst>
          </p:cNvPr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311D29E-EE8B-42D7-8924-789D31E84FB9}"/>
              </a:ext>
            </a:extLst>
          </p:cNvPr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E772A48-3B1B-4AE0-A012-7153A1C27332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C9D341D-F1B2-4AA9-8DC6-5E1BC19E1534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B021882B-DD35-44F2-B429-52F711AB9D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6D47BC3-5181-4478-A753-786CDBDD44C8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4A7C5E-9E59-4255-8774-DE0C1B515D50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6DDAC442-1A3F-4AE1-A601-C20CF9BBE3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C57EC07-29CB-49AF-AC13-CF2B4D590DA5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0977860-CD44-4670-AB9B-8D9C3B42EF38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9CA64474-1CDD-4237-BE98-E9D34EB8AC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7BC3DC19-B507-45DE-B600-489B2404C91C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7279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Key poin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89771" y="548808"/>
            <a:ext cx="10899484" cy="504173"/>
          </a:xfrm>
          <a:prstGeom prst="rect">
            <a:avLst/>
          </a:prstGeom>
        </p:spPr>
        <p:txBody>
          <a:bodyPr anchor="t"/>
          <a:lstStyle>
            <a:lvl1pPr>
              <a:defRPr sz="3199">
                <a:solidFill>
                  <a:schemeClr val="bg2"/>
                </a:solidFill>
                <a:latin typeface="Segoe UI Semibold" panose="020B07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89600" cy="109728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32687" y="1557700"/>
            <a:ext cx="10456020" cy="1008345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132839" y="2781572"/>
            <a:ext cx="10456020" cy="1008345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132839" y="4007073"/>
            <a:ext cx="10456020" cy="1008345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" y="109753"/>
            <a:ext cx="427394" cy="67514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2" name="Oval 11"/>
          <p:cNvSpPr>
            <a:spLocks noChangeAspect="1"/>
          </p:cNvSpPr>
          <p:nvPr userDrawn="1"/>
        </p:nvSpPr>
        <p:spPr>
          <a:xfrm>
            <a:off x="244715" y="1917277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3" name="Oval 12"/>
          <p:cNvSpPr>
            <a:spLocks noChangeAspect="1"/>
          </p:cNvSpPr>
          <p:nvPr userDrawn="1"/>
        </p:nvSpPr>
        <p:spPr>
          <a:xfrm>
            <a:off x="244715" y="3213753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244715" y="5662592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880348" y="6393842"/>
            <a:ext cx="974751" cy="320362"/>
          </a:xfrm>
          <a:prstGeom prst="rect">
            <a:avLst/>
          </a:prstGeom>
          <a:noFill/>
        </p:spPr>
        <p:txBody>
          <a:bodyPr wrap="square" lIns="103879" tIns="51940" rIns="103879" bIns="51940" rtlCol="0">
            <a:spAutoFit/>
          </a:bodyPr>
          <a:lstStyle/>
          <a:p>
            <a:pPr algn="r"/>
            <a:fld id="{6E8856DA-B77A-4A94-8E84-45BF77D9376B}" type="slidenum">
              <a:rPr lang="en-AU" sz="14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4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132839" y="5230411"/>
            <a:ext cx="10456020" cy="1008345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Oval 16"/>
          <p:cNvSpPr>
            <a:spLocks noChangeAspect="1"/>
          </p:cNvSpPr>
          <p:nvPr userDrawn="1"/>
        </p:nvSpPr>
        <p:spPr>
          <a:xfrm>
            <a:off x="244715" y="4366116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</p:spTree>
    <p:extLst>
      <p:ext uri="{BB962C8B-B14F-4D97-AF65-F5344CB8AC3E}">
        <p14:creationId xmlns:p14="http://schemas.microsoft.com/office/powerpoint/2010/main" val="1266164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 marL="0" algn="l" defTabSz="1039033" rtl="0" eaLnBrk="1" latinLnBrk="0" hangingPunct="1">
              <a:lnSpc>
                <a:spcPct val="90000"/>
              </a:lnSpc>
              <a:defRPr lang="en-AU" sz="3200" kern="120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AU" dirty="0"/>
              <a:t>Governing </a:t>
            </a:r>
            <a:r>
              <a:rPr lang="en-AU" noProof="0" dirty="0"/>
              <a:t>though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731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8836030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9541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graphic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Title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2206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/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975752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 page graphic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0068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703190"/>
            <a:ext cx="12193790" cy="451401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586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/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9"/>
            <a:ext cx="10841038" cy="428142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355213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 page graphic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814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701602"/>
            <a:ext cx="12193790" cy="45156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366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8"/>
            <a:ext cx="10841038" cy="437667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3970538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67741651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C39E317-E4B9-4DC5-84AE-C69746E8D3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792" y="661942"/>
            <a:ext cx="10860016" cy="548117"/>
          </a:xfrm>
          <a:prstGeom prst="rect">
            <a:avLst/>
          </a:prstGeom>
        </p:spPr>
        <p:txBody>
          <a:bodyPr vert="horz" lIns="0" tIns="51952" rIns="0" bIns="51952" rtlCol="0" anchor="ctr" anchorCtr="0">
            <a:spAutoFit/>
          </a:bodyPr>
          <a:lstStyle/>
          <a:p>
            <a:r>
              <a:rPr lang="en-AU" noProof="0" dirty="0"/>
              <a:t>Governing</a:t>
            </a:r>
            <a:r>
              <a:rPr lang="en-AU" dirty="0"/>
              <a:t> though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962D7D9-D342-4842-B0AA-111B705756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529" y="1774800"/>
            <a:ext cx="10858402" cy="4030942"/>
          </a:xfrm>
          <a:prstGeom prst="rect">
            <a:avLst/>
          </a:prstGeom>
        </p:spPr>
        <p:txBody>
          <a:bodyPr vert="horz" lIns="0" tIns="51952" rIns="0" bIns="51952" rtlCol="0">
            <a:noAutofit/>
          </a:bodyPr>
          <a:lstStyle/>
          <a:p>
            <a:pPr lvl="0"/>
            <a:r>
              <a:rPr lang="en-AU" noProof="0" dirty="0"/>
              <a:t>Body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 level</a:t>
            </a:r>
          </a:p>
        </p:txBody>
      </p:sp>
    </p:spTree>
    <p:extLst>
      <p:ext uri="{BB962C8B-B14F-4D97-AF65-F5344CB8AC3E}">
        <p14:creationId xmlns:p14="http://schemas.microsoft.com/office/powerpoint/2010/main" val="371333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1" r:id="rId2"/>
    <p:sldLayoutId id="2147483683" r:id="rId3"/>
    <p:sldLayoutId id="2147483706" r:id="rId4"/>
    <p:sldLayoutId id="2147483682" r:id="rId5"/>
    <p:sldLayoutId id="2147483734" r:id="rId6"/>
    <p:sldLayoutId id="2147483709" r:id="rId7"/>
    <p:sldLayoutId id="2147483713" r:id="rId8"/>
    <p:sldLayoutId id="2147483718" r:id="rId9"/>
    <p:sldLayoutId id="2147483733" r:id="rId10"/>
    <p:sldLayoutId id="2147483732" r:id="rId11"/>
    <p:sldLayoutId id="2147483698" r:id="rId12"/>
    <p:sldLayoutId id="2147483699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692" r:id="rId19"/>
    <p:sldLayoutId id="2147483674" r:id="rId20"/>
    <p:sldLayoutId id="2147483737" r:id="rId21"/>
    <p:sldLayoutId id="2147483704" r:id="rId22"/>
    <p:sldLayoutId id="2147483735" r:id="rId23"/>
    <p:sldLayoutId id="2147483736" r:id="rId24"/>
    <p:sldLayoutId id="2147483680" r:id="rId25"/>
    <p:sldLayoutId id="2147483685" r:id="rId26"/>
    <p:sldLayoutId id="2147483677" r:id="rId27"/>
    <p:sldLayoutId id="2147483684" r:id="rId28"/>
    <p:sldLayoutId id="2147483702" r:id="rId29"/>
    <p:sldLayoutId id="2147483701" r:id="rId30"/>
    <p:sldLayoutId id="2147483695" r:id="rId31"/>
    <p:sldLayoutId id="2147483719" r:id="rId32"/>
    <p:sldLayoutId id="2147483720" r:id="rId33"/>
    <p:sldLayoutId id="2147483693" r:id="rId34"/>
    <p:sldLayoutId id="2147483697" r:id="rId35"/>
    <p:sldLayoutId id="2147483694" r:id="rId36"/>
    <p:sldLayoutId id="2147483721" r:id="rId37"/>
    <p:sldLayoutId id="2147483722" r:id="rId38"/>
    <p:sldLayoutId id="2147483729" r:id="rId39"/>
    <p:sldLayoutId id="2147483730" r:id="rId40"/>
    <p:sldLayoutId id="2147483731" r:id="rId41"/>
    <p:sldLayoutId id="2147483740" r:id="rId42"/>
    <p:sldLayoutId id="2147483741" r:id="rId43"/>
    <p:sldLayoutId id="2147483742" r:id="rId44"/>
    <p:sldLayoutId id="2147483743" r:id="rId45"/>
  </p:sldLayoutIdLst>
  <p:hf hdr="0" ftr="0" dt="0"/>
  <p:txStyles>
    <p:titleStyle>
      <a:lvl1pPr algn="l" defTabSz="1039033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bg2"/>
          </a:solidFill>
          <a:latin typeface="Segoe UI Semibold" panose="020B0702040204020203" pitchFamily="34" charset="0"/>
          <a:ea typeface="+mj-ea"/>
          <a:cs typeface="+mj-cs"/>
        </a:defRPr>
      </a:lvl1pPr>
    </p:titleStyle>
    <p:bodyStyle>
      <a:lvl1pPr marL="0" indent="0" algn="l" defTabSz="1039033" rtl="0" eaLnBrk="1" latinLnBrk="0" hangingPunct="1">
        <a:spcBef>
          <a:spcPts val="455"/>
        </a:spcBef>
        <a:buFont typeface="Arial" pitchFamily="34" charset="0"/>
        <a:buNone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0" indent="-360000" algn="l" defTabSz="1039033" rtl="0" eaLnBrk="1" latinLnBrk="0" hangingPunct="1">
        <a:spcBef>
          <a:spcPts val="455"/>
        </a:spcBef>
        <a:buClr>
          <a:schemeClr val="bg2"/>
        </a:buClr>
        <a:buFont typeface="Arial" pitchFamily="34" charset="0"/>
        <a:buChar char="•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720000" indent="-360000" algn="l" defTabSz="1039033" rtl="0" eaLnBrk="1" latinLnBrk="0" hangingPunct="1">
        <a:spcBef>
          <a:spcPts val="455"/>
        </a:spcBef>
        <a:buClr>
          <a:schemeClr val="bg2"/>
        </a:buClr>
        <a:buFont typeface="Segoe UI" panose="020B0502040204020203" pitchFamily="34" charset="0"/>
        <a:buChar char="–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080000" indent="-360000" algn="l" defTabSz="1039033" rtl="0" eaLnBrk="1" latinLnBrk="0" hangingPunct="1">
        <a:spcBef>
          <a:spcPts val="455"/>
        </a:spcBef>
        <a:buClr>
          <a:schemeClr val="bg2"/>
        </a:buClr>
        <a:buFont typeface="Arial" pitchFamily="34" charset="0"/>
        <a:buChar char="•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440000" indent="-360000" algn="l" defTabSz="1039033" rtl="0" eaLnBrk="1" latinLnBrk="0" hangingPunct="1">
        <a:spcBef>
          <a:spcPts val="455"/>
        </a:spcBef>
        <a:buClr>
          <a:schemeClr val="bg2"/>
        </a:buClr>
        <a:buFont typeface="Segoe UI" panose="020B0502040204020203" pitchFamily="34" charset="0"/>
        <a:buChar char="–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72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arabicPeriod"/>
        <a:defRPr sz="20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6pPr>
      <a:lvl7pPr marL="108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alphaLcPeriod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7pPr>
      <a:lvl8pPr marL="144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romanLcPeriod"/>
        <a:defRPr sz="20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8pPr>
      <a:lvl9pPr marL="4415889" indent="-259758" algn="l" defTabSz="1039033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516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9033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549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8065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582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7098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615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6131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Trent Henderson | 20 May 202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Goal scoring in the AFL: A linear modelling exploration</a:t>
            </a:r>
          </a:p>
        </p:txBody>
      </p:sp>
    </p:spTree>
    <p:extLst>
      <p:ext uri="{BB962C8B-B14F-4D97-AF65-F5344CB8AC3E}">
        <p14:creationId xmlns:p14="http://schemas.microsoft.com/office/powerpoint/2010/main" val="2160923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DD1B99-2A5C-47E9-9C4B-E8C8C3AEFE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number of limitations and potential methods to address them have been identifi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ED671-8045-4E49-9F75-60D20D51E36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Not all variables in the available datasets were explored</a:t>
            </a:r>
          </a:p>
          <a:p>
            <a:pPr marL="1062900" lvl="2" indent="-342900"/>
            <a:r>
              <a:rPr lang="en-AU" dirty="0"/>
              <a:t>The datasets contained a very large number of variables, a shortlist of which were used for this analysis due to prior hypotheses</a:t>
            </a:r>
          </a:p>
          <a:p>
            <a:pPr marL="1062900" lvl="2" indent="-342900"/>
            <a:r>
              <a:rPr lang="en-AU" dirty="0"/>
              <a:t>Future research should examine all variables, potentially using Lasso Regres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Small deviations in residuals were noted, </a:t>
            </a:r>
            <a:r>
              <a:rPr lang="en-AU" b="1"/>
              <a:t>but addition </a:t>
            </a:r>
            <a:r>
              <a:rPr lang="en-AU" b="1" dirty="0"/>
              <a:t>of quadratic terms did not fix it</a:t>
            </a:r>
          </a:p>
          <a:p>
            <a:pPr marL="1062900" lvl="2" indent="-342900"/>
            <a:r>
              <a:rPr lang="en-AU" dirty="0"/>
              <a:t>A minor </a:t>
            </a:r>
            <a:r>
              <a:rPr lang="en-AU" i="1" dirty="0"/>
              <a:t>sag</a:t>
            </a:r>
            <a:r>
              <a:rPr lang="en-AU" dirty="0"/>
              <a:t> was noted in the residuals plot, suggesting use of a quadratic te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It remains unclear whether an ordinary least squares regression approach is optimal</a:t>
            </a:r>
          </a:p>
          <a:p>
            <a:pPr marL="1062900" lvl="2" indent="-342900"/>
            <a:r>
              <a:rPr lang="en-AU" dirty="0"/>
              <a:t>A GAM follow-up analysis yielded superior model fit at a negligible cost to A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There may be differential relationships for each team or for home and away teams</a:t>
            </a:r>
          </a:p>
          <a:p>
            <a:pPr marL="1062900" lvl="2" indent="-342900"/>
            <a:r>
              <a:rPr lang="en-AU" dirty="0"/>
              <a:t>Exploring these interactions may reveal unique team-level gameplay differences or a quantification of the “home team advantage”</a:t>
            </a:r>
          </a:p>
        </p:txBody>
      </p:sp>
    </p:spTree>
    <p:extLst>
      <p:ext uri="{BB962C8B-B14F-4D97-AF65-F5344CB8AC3E}">
        <p14:creationId xmlns:p14="http://schemas.microsoft.com/office/powerpoint/2010/main" val="6849023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338DBC-3B94-449A-BC1B-1999CFAD51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0412" cy="62172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0982A72-5F3D-47A2-AF18-AF6F5B062BE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924" t="20333" r="23175" b="-15504"/>
          <a:stretch/>
        </p:blipFill>
        <p:spPr>
          <a:xfrm>
            <a:off x="5024387" y="0"/>
            <a:ext cx="7166026" cy="41155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E090DA-2C1B-493D-AF98-F718376D7F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082" t="32384" r="27332" b="-27555"/>
          <a:stretch/>
        </p:blipFill>
        <p:spPr>
          <a:xfrm rot="10800000">
            <a:off x="0" y="2101671"/>
            <a:ext cx="7166026" cy="4115533"/>
          </a:xfrm>
          <a:prstGeom prst="rect">
            <a:avLst/>
          </a:prstGeom>
        </p:spPr>
      </p:pic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21CA062C-C49B-479F-AD4A-25F3CDEF6B72}"/>
              </a:ext>
            </a:extLst>
          </p:cNvPr>
          <p:cNvSpPr txBox="1">
            <a:spLocks/>
          </p:cNvSpPr>
          <p:nvPr/>
        </p:nvSpPr>
        <p:spPr>
          <a:xfrm>
            <a:off x="-1" y="577516"/>
            <a:ext cx="12190413" cy="5091764"/>
          </a:xfrm>
          <a:prstGeom prst="rect">
            <a:avLst/>
          </a:prstGeom>
        </p:spPr>
        <p:txBody>
          <a:bodyPr anchor="ctr"/>
          <a:lstStyle>
            <a:lvl1pPr marL="0" indent="0" algn="l" defTabSz="1039033" rtl="0" eaLnBrk="1" latinLnBrk="0" hangingPunct="1">
              <a:spcBef>
                <a:spcPts val="455"/>
              </a:spcBef>
              <a:buFont typeface="Arial" pitchFamily="34" charset="0"/>
              <a:buNone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6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rabi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6pPr>
            <a:lvl7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lphaLcPeriod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7pPr>
            <a:lvl8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romanL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8pPr>
            <a:lvl9pPr marL="4415889" indent="-259758" algn="l" defTabSz="10390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AU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9760037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155B43-2E62-4C39-91C9-3732A8F94E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gend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10817943" cy="3858642"/>
          </a:xfrm>
        </p:spPr>
        <p:txBody>
          <a:bodyPr/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Premise of and motivation for the current analysi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Available data and reputability of source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Analytical approach and appropriateness of linear modelling assumption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Results and implications for AFL team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Limitations and recommendations for future analysis</a:t>
            </a:r>
          </a:p>
        </p:txBody>
      </p:sp>
    </p:spTree>
    <p:extLst>
      <p:ext uri="{BB962C8B-B14F-4D97-AF65-F5344CB8AC3E}">
        <p14:creationId xmlns:p14="http://schemas.microsoft.com/office/powerpoint/2010/main" val="1058770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E668BC-F59B-40D9-9CA6-2EB68A0B57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Scoring goals is critical to winning AFL games – can linear modelling help to understand what is associated with i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0DD037-ED95-496C-BCCB-30A03060B61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5292261" cy="38586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In AFL, teams can score points by either kicking a </a:t>
            </a:r>
            <a:r>
              <a:rPr lang="en-AU" i="1" dirty="0"/>
              <a:t>goal</a:t>
            </a:r>
            <a:r>
              <a:rPr lang="en-AU" dirty="0"/>
              <a:t> (6 points) or a </a:t>
            </a:r>
            <a:r>
              <a:rPr lang="en-AU" i="1" dirty="0"/>
              <a:t>behind</a:t>
            </a:r>
            <a:r>
              <a:rPr lang="en-AU" dirty="0"/>
              <a:t> (1 poin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It is intuitive that kicking more goals </a:t>
            </a:r>
            <a:r>
              <a:rPr lang="en-AU" i="1" dirty="0"/>
              <a:t>should</a:t>
            </a:r>
            <a:r>
              <a:rPr lang="en-AU" dirty="0"/>
              <a:t> lead to a higher likelihood of winning the ga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But simply getting a team to kick more goals is not feasible</a:t>
            </a:r>
          </a:p>
          <a:p>
            <a:pPr marL="1062900" lvl="2" indent="-342900"/>
            <a:r>
              <a:rPr lang="en-AU" dirty="0"/>
              <a:t>Can we quantitatively explore what other aspects of gameplay are associated with goal scoring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B77BA1-E9D0-0448-B912-B95A946ED3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206" y="1774061"/>
            <a:ext cx="5557325" cy="4351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686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ABC681-D9DE-47C7-99D0-EA26A3F55B2D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A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ariab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6963A97-9FDA-49AE-A84F-7D50DCF8CB4D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A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ata Sourc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E668BC-F59B-40D9-9CA6-2EB68A0B57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large amount of historical data is available and previous open-source work has linked multiple reputable sources</a:t>
            </a:r>
          </a:p>
        </p:txBody>
      </p:sp>
    </p:spTree>
    <p:extLst>
      <p:ext uri="{BB962C8B-B14F-4D97-AF65-F5344CB8AC3E}">
        <p14:creationId xmlns:p14="http://schemas.microsoft.com/office/powerpoint/2010/main" val="1032320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DB29E5-D548-49F5-B98B-1E8043A71A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robust and detailed linear modelling approach was use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615AC2-05CE-489E-BA41-596539B000FC}"/>
              </a:ext>
            </a:extLst>
          </p:cNvPr>
          <p:cNvSpPr/>
          <p:nvPr/>
        </p:nvSpPr>
        <p:spPr>
          <a:xfrm>
            <a:off x="666750" y="2365694"/>
            <a:ext cx="1841558" cy="265587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Data extraction from AP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23E57A-6DBF-5B49-BEB2-EF468A06DFE1}"/>
              </a:ext>
            </a:extLst>
          </p:cNvPr>
          <p:cNvSpPr/>
          <p:nvPr/>
        </p:nvSpPr>
        <p:spPr>
          <a:xfrm>
            <a:off x="2859566" y="2365695"/>
            <a:ext cx="1841558" cy="265587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Data cleaning and aggreg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EB6935-57EF-FB44-9D21-B147E0DCECBF}"/>
              </a:ext>
            </a:extLst>
          </p:cNvPr>
          <p:cNvSpPr/>
          <p:nvPr/>
        </p:nvSpPr>
        <p:spPr>
          <a:xfrm>
            <a:off x="5052383" y="2365694"/>
            <a:ext cx="1841558" cy="2655879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Exploratory data analysis and visualis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4F7BDC-911D-FE4E-AF5F-B5F0E1CD831B}"/>
              </a:ext>
            </a:extLst>
          </p:cNvPr>
          <p:cNvSpPr/>
          <p:nvPr/>
        </p:nvSpPr>
        <p:spPr>
          <a:xfrm>
            <a:off x="7245200" y="2365695"/>
            <a:ext cx="1841558" cy="121002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Linear model fit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A0E7FCB-E6C1-044E-A589-80C95413E588}"/>
              </a:ext>
            </a:extLst>
          </p:cNvPr>
          <p:cNvSpPr/>
          <p:nvPr/>
        </p:nvSpPr>
        <p:spPr>
          <a:xfrm>
            <a:off x="7245200" y="3811546"/>
            <a:ext cx="1841558" cy="121002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Assumption check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542D0D-EF30-4847-8178-8E04C773B099}"/>
              </a:ext>
            </a:extLst>
          </p:cNvPr>
          <p:cNvSpPr/>
          <p:nvPr/>
        </p:nvSpPr>
        <p:spPr>
          <a:xfrm>
            <a:off x="9438016" y="2365695"/>
            <a:ext cx="1920677" cy="2655879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Final model outputs and performance analysi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5CD4944-ECA6-B844-BC10-841C05B4C45D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508308" y="3693633"/>
            <a:ext cx="351258" cy="1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BDE7B35-21D2-EE43-9381-82011191FFE4}"/>
              </a:ext>
            </a:extLst>
          </p:cNvPr>
          <p:cNvCxnSpPr>
            <a:stCxn id="7" idx="3"/>
            <a:endCxn id="8" idx="1"/>
          </p:cNvCxnSpPr>
          <p:nvPr/>
        </p:nvCxnSpPr>
        <p:spPr>
          <a:xfrm>
            <a:off x="4701124" y="3693634"/>
            <a:ext cx="351259" cy="0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urved Connector 25">
            <a:extLst>
              <a:ext uri="{FF2B5EF4-FFF2-40B4-BE49-F238E27FC236}">
                <a16:creationId xmlns:a16="http://schemas.microsoft.com/office/drawing/2014/main" id="{87193589-DA13-F042-BA16-62C13E6F9A8C}"/>
              </a:ext>
            </a:extLst>
          </p:cNvPr>
          <p:cNvCxnSpPr>
            <a:stCxn id="9" idx="1"/>
            <a:endCxn id="10" idx="1"/>
          </p:cNvCxnSpPr>
          <p:nvPr/>
        </p:nvCxnSpPr>
        <p:spPr>
          <a:xfrm rot="10800000" flipV="1">
            <a:off x="7245200" y="2970708"/>
            <a:ext cx="12700" cy="1445851"/>
          </a:xfrm>
          <a:prstGeom prst="curvedConnector3">
            <a:avLst>
              <a:gd name="adj1" fmla="val 1800000"/>
            </a:avLst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urved Connector 27">
            <a:extLst>
              <a:ext uri="{FF2B5EF4-FFF2-40B4-BE49-F238E27FC236}">
                <a16:creationId xmlns:a16="http://schemas.microsoft.com/office/drawing/2014/main" id="{EC191807-9A42-194B-ADCC-36A8E364E267}"/>
              </a:ext>
            </a:extLst>
          </p:cNvPr>
          <p:cNvCxnSpPr>
            <a:stCxn id="10" idx="3"/>
            <a:endCxn id="9" idx="3"/>
          </p:cNvCxnSpPr>
          <p:nvPr/>
        </p:nvCxnSpPr>
        <p:spPr>
          <a:xfrm flipV="1">
            <a:off x="9086758" y="2970709"/>
            <a:ext cx="12700" cy="1445851"/>
          </a:xfrm>
          <a:prstGeom prst="curvedConnector3">
            <a:avLst>
              <a:gd name="adj1" fmla="val 1800000"/>
            </a:avLst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BE6D902-FF9D-944C-8C65-BB2F10351E99}"/>
              </a:ext>
            </a:extLst>
          </p:cNvPr>
          <p:cNvCxnSpPr/>
          <p:nvPr/>
        </p:nvCxnSpPr>
        <p:spPr>
          <a:xfrm>
            <a:off x="9086758" y="2365694"/>
            <a:ext cx="351258" cy="0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6E643699-1A0E-8848-BB91-B52A24F40571}"/>
              </a:ext>
            </a:extLst>
          </p:cNvPr>
          <p:cNvCxnSpPr/>
          <p:nvPr/>
        </p:nvCxnSpPr>
        <p:spPr>
          <a:xfrm>
            <a:off x="6893941" y="2365694"/>
            <a:ext cx="363959" cy="0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3310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B64B89-7E51-46CA-8931-E69DE43B78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Core linear modelling assumptions were rigorously test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189228-89AB-AE43-8A5E-8F3802DC79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847" y="1877352"/>
            <a:ext cx="5361815" cy="42019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ADA70EE-8127-0540-BCC9-BCDA1F675C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6752" y="1877352"/>
            <a:ext cx="5361814" cy="4201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683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B64B89-7E51-46CA-8931-E69DE43B78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Core linear modelling assumptions were rigorously tes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948A1-465B-9947-9861-17E3655A9F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6750" y="1877352"/>
            <a:ext cx="5361816" cy="42019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3189228-89AB-AE43-8A5E-8F3802DC79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1847" y="1877353"/>
            <a:ext cx="5361815" cy="420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3012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B64B89-7E51-46CA-8931-E69DE43B78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Core linear modelling assumptions were rigorously tes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948A1-465B-9947-9861-17E3655A9F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6750" y="1877352"/>
            <a:ext cx="5361816" cy="42019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3189228-89AB-AE43-8A5E-8F3802DC79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1847" y="1877352"/>
            <a:ext cx="5361816" cy="420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3469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71E6085-69E4-4679-A59D-5507492823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selection of core gameplay metrics were able to predict the number of goals scored by individual teams in ga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CE3313-FE70-42F2-A04A-6524CBAE33F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5339767" cy="38586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i="1" dirty="0"/>
              <a:t>Tackles</a:t>
            </a:r>
            <a:r>
              <a:rPr lang="en-AU" dirty="0"/>
              <a:t> and </a:t>
            </a:r>
            <a:r>
              <a:rPr lang="en-AU" i="1" dirty="0"/>
              <a:t>hit outs </a:t>
            </a:r>
            <a:r>
              <a:rPr lang="en-AU" dirty="0"/>
              <a:t>did not meaningfully predict goals scored</a:t>
            </a:r>
          </a:p>
          <a:p>
            <a:pPr marL="1062900" lvl="2" indent="-342900"/>
            <a:r>
              <a:rPr lang="en-AU" dirty="0"/>
              <a:t>This is intuitive, as they are not core gameplay features that may indicate offensive footba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i="1" dirty="0"/>
              <a:t>Clangers</a:t>
            </a:r>
            <a:r>
              <a:rPr lang="en-AU" dirty="0"/>
              <a:t> (unforced errors) was the only negative predict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The positive coefficient of </a:t>
            </a:r>
            <a:r>
              <a:rPr lang="en-AU" i="1" dirty="0"/>
              <a:t>clearances</a:t>
            </a:r>
            <a:r>
              <a:rPr lang="en-AU" dirty="0"/>
              <a:t> is surprising given its defensive attribu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The strong positive coefficient for </a:t>
            </a:r>
            <a:r>
              <a:rPr lang="en-AU" i="1" dirty="0"/>
              <a:t>marks inside 50</a:t>
            </a:r>
            <a:r>
              <a:rPr lang="en-AU" dirty="0"/>
              <a:t> makes sense given that these lead to controlled “set shot” attempts at goa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6DFE5E-AAEC-B049-BBF2-382D689D36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1847" y="1774062"/>
            <a:ext cx="5361816" cy="434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98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- Core">
  <a:themeElements>
    <a:clrScheme name="New Brand">
      <a:dk1>
        <a:sysClr val="windowText" lastClr="000000"/>
      </a:dk1>
      <a:lt1>
        <a:sysClr val="window" lastClr="FFFFFF"/>
      </a:lt1>
      <a:dk2>
        <a:srgbClr val="2E368F"/>
      </a:dk2>
      <a:lt2>
        <a:srgbClr val="00264D"/>
      </a:lt2>
      <a:accent1>
        <a:srgbClr val="FF3A40"/>
      </a:accent1>
      <a:accent2>
        <a:srgbClr val="F25E21"/>
      </a:accent2>
      <a:accent3>
        <a:srgbClr val="F8981D"/>
      </a:accent3>
      <a:accent4>
        <a:srgbClr val="FED13B"/>
      </a:accent4>
      <a:accent5>
        <a:srgbClr val="E6E6E1"/>
      </a:accent5>
      <a:accent6>
        <a:srgbClr val="25B3E0"/>
      </a:accent6>
      <a:hlink>
        <a:srgbClr val="0048C7"/>
      </a:hlink>
      <a:folHlink>
        <a:srgbClr val="0048C7"/>
      </a:folHlink>
    </a:clrScheme>
    <a:fontScheme name="Custom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>
          <a:solidFill>
            <a:schemeClr val="accent3"/>
          </a:solidFill>
        </a:ln>
      </a:spPr>
      <a:bodyPr rtlCol="0" anchor="ctr"/>
      <a:lstStyle>
        <a:defPPr algn="ctr">
          <a:defRPr sz="1600" dirty="0" err="1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 - Formal" id="{4F6B461B-C163-4D25-84E2-7459E45B3C51}" vid="{5EA4CD0B-CCD9-4CA4-B14A-AD78DA1D8B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7C070C1F848145BDC0FA0130DF4442" ma:contentTypeVersion="10" ma:contentTypeDescription="Create a new document." ma:contentTypeScope="" ma:versionID="cf901ca0c944e1d553d154af5f2c1c4f">
  <xsd:schema xmlns:xsd="http://www.w3.org/2001/XMLSchema" xmlns:xs="http://www.w3.org/2001/XMLSchema" xmlns:p="http://schemas.microsoft.com/office/2006/metadata/properties" xmlns:ns2="fc6ab167-db70-4379-8869-a8cc7a1fa5d6" xmlns:ns3="6cd22d0c-df22-4c4f-a401-cad966b5c9be" targetNamespace="http://schemas.microsoft.com/office/2006/metadata/properties" ma:root="true" ma:fieldsID="2c812f074d84dadff0e6ee094f34ab95" ns2:_="" ns3:_="">
    <xsd:import namespace="fc6ab167-db70-4379-8869-a8cc7a1fa5d6"/>
    <xsd:import namespace="6cd22d0c-df22-4c4f-a401-cad966b5c9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6ab167-db70-4379-8869-a8cc7a1fa5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d22d0c-df22-4c4f-a401-cad966b5c9b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73B242-1203-4859-8453-A7C017C494A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1C9025-37E4-4B60-BB55-82E97C9CA6D5}">
  <ds:schemaRefs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6cd22d0c-df22-4c4f-a401-cad966b5c9be"/>
    <ds:schemaRef ds:uri="fc6ab167-db70-4379-8869-a8cc7a1fa5d6"/>
  </ds:schemaRefs>
</ds:datastoreItem>
</file>

<file path=customXml/itemProps3.xml><?xml version="1.0" encoding="utf-8"?>
<ds:datastoreItem xmlns:ds="http://schemas.openxmlformats.org/officeDocument/2006/customXml" ds:itemID="{6256EAAE-7A75-48FD-978C-BC36C63F33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6ab167-db70-4379-8869-a8cc7a1fa5d6"/>
    <ds:schemaRef ds:uri="6cd22d0c-df22-4c4f-a401-cad966b5c9b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- Formal</Template>
  <TotalTime>10151</TotalTime>
  <Words>454</Words>
  <Application>Microsoft Macintosh PowerPoint</Application>
  <PresentationFormat>Custom</PresentationFormat>
  <Paragraphs>45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Segoe UI</vt:lpstr>
      <vt:lpstr>Segoe UI Light</vt:lpstr>
      <vt:lpstr>Segoe UI Semibold</vt:lpstr>
      <vt:lpstr>Segoe UI Semilight</vt:lpstr>
      <vt:lpstr>Presentation - Cor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Nou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ma Freeman</dc:creator>
  <cp:lastModifiedBy>Trent Henderson</cp:lastModifiedBy>
  <cp:revision>31</cp:revision>
  <cp:lastPrinted>2017-07-25T00:34:06Z</cp:lastPrinted>
  <dcterms:created xsi:type="dcterms:W3CDTF">2020-09-30T04:51:57Z</dcterms:created>
  <dcterms:modified xsi:type="dcterms:W3CDTF">2021-04-28T05:5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7C070C1F848145BDC0FA0130DF4442</vt:lpwstr>
  </property>
</Properties>
</file>